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389864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42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3</cp:revision>
  <dcterms:created xsi:type="dcterms:W3CDTF">2021-03-31T02:49:57Z</dcterms:created>
  <dcterms:modified xsi:type="dcterms:W3CDTF">2025-10-16T10:51:36Z</dcterms:modified>
  <cp:category/>
</cp:coreProperties>
</file>